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68" d="100"/>
          <a:sy n="68" d="100"/>
        </p:scale>
        <p:origin x="142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12.12.2022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. TOPLANTISI       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26  OCAK 2023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ŞEMBE</a:t>
            </a: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415179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Tut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2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Parasal</a:t>
                      </a:r>
                      <a:r>
                        <a:rPr lang="tr-TR" sz="11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Y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2 Yılı Harcamas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Aşamasındaki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Kal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2 YILI DÖNEM SONU)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2 YILI DÖNEM SONU)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315371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</a:p>
                    <a:p>
                      <a:pPr algn="ctr" fontAlgn="ctr"/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9313491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Yeri (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Bedeli (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Harcamaları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2 Yıl İçi Harcama </a:t>
                      </a:r>
                      <a:r>
                        <a:rPr lang="tr-TR" sz="1050" b="1" u="none" strike="noStrike" kern="1200" dirty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2022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>
                          <a:effectLst/>
                        </a:rPr>
                        <a:t>Yılı Ödeneği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 ve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4</a:t>
            </a:r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idroelektr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ent İçi 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5</a:t>
            </a: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İçin 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Personel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Kurum Görevlisinin</a:t>
                      </a:r>
                      <a:r>
                        <a:rPr lang="tr-TR" sz="10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6</a:t>
            </a: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5</TotalTime>
  <Words>749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Ülkü PAŞAOSMANOĞLU</cp:lastModifiedBy>
  <cp:revision>232</cp:revision>
  <cp:lastPrinted>2017-09-05T10:25:42Z</cp:lastPrinted>
  <dcterms:created xsi:type="dcterms:W3CDTF">2013-12-10T10:55:21Z</dcterms:created>
  <dcterms:modified xsi:type="dcterms:W3CDTF">2022-12-12T11:50:14Z</dcterms:modified>
</cp:coreProperties>
</file>